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58" r:id="rId4"/>
    <p:sldId id="259" r:id="rId5"/>
    <p:sldId id="260" r:id="rId6"/>
    <p:sldId id="261" r:id="rId7"/>
    <p:sldId id="263" r:id="rId8"/>
    <p:sldId id="264" r:id="rId9"/>
    <p:sldId id="265" r:id="rId10"/>
    <p:sldId id="266" r:id="rId11"/>
    <p:sldId id="267" r:id="rId12"/>
  </p:sldIdLst>
  <p:sldSz cx="24384000" cy="13716000"/>
  <p:notesSz cx="6858000" cy="9144000"/>
  <p:embeddedFontLst>
    <p:embeddedFont>
      <p:font typeface="Helvetica Neue Light" panose="020B0604020202020204" charset="0"/>
      <p:regular r:id="rId14"/>
      <p:bold r:id="rId15"/>
      <p:italic r:id="rId16"/>
      <p:boldItalic r:id="rId17"/>
    </p:embeddedFont>
    <p:embeddedFont>
      <p:font typeface="Helvetica Neue" panose="020B060402020202020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6" roundtripDataSignature="AMtx7mgLKjW3NPH2/Josyiybl085SfRoA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C0FF415-2FF5-4CCC-AFD1-4F21B290476F}">
  <a:tblStyle styleId="{EC0FF415-2FF5-4CCC-AFD1-4F21B290476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4343" autoAdjust="0"/>
  </p:normalViewPr>
  <p:slideViewPr>
    <p:cSldViewPr snapToGrid="0">
      <p:cViewPr varScale="1">
        <p:scale>
          <a:sx n="54" d="100"/>
          <a:sy n="54" d="100"/>
        </p:scale>
        <p:origin x="136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customschemas.google.com/relationships/presentationmetadata" Target="metadata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" name="Google Shape;15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8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" name="Google Shape;105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1" name="Google Shape;141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" type="title">
  <p:cSld name="TITLE">
    <p:bg>
      <p:bgPr>
        <a:solidFill>
          <a:srgbClr val="00346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5"/>
          <p:cNvSpPr txBox="1">
            <a:spLocks noGrp="1"/>
          </p:cNvSpPr>
          <p:nvPr>
            <p:ph type="body" idx="1"/>
          </p:nvPr>
        </p:nvSpPr>
        <p:spPr>
          <a:xfrm>
            <a:off x="1201340" y="11847162"/>
            <a:ext cx="21971003" cy="636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Helvetica Neue"/>
              <a:buNone/>
              <a:defRPr sz="3600" b="1">
                <a:solidFill>
                  <a:srgbClr val="FFFFFF"/>
                </a:solidFill>
              </a:defRPr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1" name="Google Shape;11;p15"/>
          <p:cNvSpPr txBox="1">
            <a:spLocks noGrp="1"/>
          </p:cNvSpPr>
          <p:nvPr>
            <p:ph type="title"/>
          </p:nvPr>
        </p:nvSpPr>
        <p:spPr>
          <a:xfrm>
            <a:off x="1206496" y="2574991"/>
            <a:ext cx="21971004" cy="4648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600"/>
              <a:buFont typeface="Helvetica Neue"/>
              <a:buNone/>
              <a:defRPr sz="11600">
                <a:solidFill>
                  <a:srgbClr val="FFFFFF"/>
                </a:solidFill>
              </a:defRPr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2" name="Google Shape;12;p15"/>
          <p:cNvSpPr txBox="1">
            <a:spLocks noGrp="1"/>
          </p:cNvSpPr>
          <p:nvPr>
            <p:ph type="body" idx="2"/>
          </p:nvPr>
        </p:nvSpPr>
        <p:spPr>
          <a:xfrm>
            <a:off x="1201342" y="7210490"/>
            <a:ext cx="21971001" cy="1905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Font typeface="Helvetica Neue"/>
              <a:buNone/>
              <a:defRPr sz="5500" b="1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Font typeface="Helvetica Neue"/>
              <a:buNone/>
              <a:defRPr sz="5500" b="1">
                <a:solidFill>
                  <a:schemeClr val="accen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Font typeface="Helvetica Neue"/>
              <a:buNone/>
              <a:defRPr sz="5500" b="1">
                <a:solidFill>
                  <a:schemeClr val="accen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Font typeface="Helvetica Neue"/>
              <a:buNone/>
              <a:defRPr sz="5500" b="1">
                <a:solidFill>
                  <a:schemeClr val="accen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Font typeface="Helvetica Neue"/>
              <a:buNone/>
              <a:defRPr sz="5500" b="1">
                <a:solidFill>
                  <a:schemeClr val="accent1"/>
                </a:solidFill>
              </a:defRPr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3" name="Google Shape;13;p15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Информационное сообщение">
  <p:cSld name="Информационное сообщение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24"/>
          <p:cNvSpPr txBox="1">
            <a:spLocks noGrp="1"/>
          </p:cNvSpPr>
          <p:nvPr>
            <p:ph type="body" idx="1"/>
          </p:nvPr>
        </p:nvSpPr>
        <p:spPr>
          <a:xfrm>
            <a:off x="1206500" y="4920843"/>
            <a:ext cx="21971000" cy="3874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L="457200" lvl="0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1600"/>
              <a:buFont typeface="Helvetica Neue"/>
              <a:buNone/>
              <a:defRPr sz="116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1600"/>
              <a:buFont typeface="Helvetica Neue"/>
              <a:buNone/>
              <a:defRPr sz="116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1600"/>
              <a:buFont typeface="Helvetica Neue"/>
              <a:buNone/>
              <a:defRPr sz="116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1600"/>
              <a:buFont typeface="Helvetica Neue"/>
              <a:buNone/>
              <a:defRPr sz="116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1600"/>
              <a:buFont typeface="Helvetica Neue"/>
              <a:buNone/>
              <a:defRPr sz="116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24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ажный факт">
  <p:cSld name="Важный факт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5"/>
          <p:cNvSpPr txBox="1">
            <a:spLocks noGrp="1"/>
          </p:cNvSpPr>
          <p:nvPr>
            <p:ph type="body" idx="1"/>
          </p:nvPr>
        </p:nvSpPr>
        <p:spPr>
          <a:xfrm>
            <a:off x="1206500" y="1075927"/>
            <a:ext cx="21971000" cy="7241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marL="457200" lvl="0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25000"/>
              <a:buFont typeface="Helvetica Neue"/>
              <a:buNone/>
              <a:defRPr sz="25000" b="1">
                <a:solidFill>
                  <a:srgbClr val="004C7F"/>
                </a:solidFill>
              </a:defRPr>
            </a:lvl1pPr>
            <a:lvl2pPr marL="914400" lvl="1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25000"/>
              <a:buFont typeface="Helvetica Neue"/>
              <a:buNone/>
              <a:defRPr sz="25000" b="1">
                <a:solidFill>
                  <a:srgbClr val="004C7F"/>
                </a:solidFill>
              </a:defRPr>
            </a:lvl2pPr>
            <a:lvl3pPr marL="1371600" lvl="2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25000"/>
              <a:buFont typeface="Helvetica Neue"/>
              <a:buNone/>
              <a:defRPr sz="25000" b="1">
                <a:solidFill>
                  <a:srgbClr val="004C7F"/>
                </a:solidFill>
              </a:defRPr>
            </a:lvl3pPr>
            <a:lvl4pPr marL="1828800" lvl="3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25000"/>
              <a:buFont typeface="Helvetica Neue"/>
              <a:buNone/>
              <a:defRPr sz="25000" b="1">
                <a:solidFill>
                  <a:srgbClr val="004C7F"/>
                </a:solidFill>
              </a:defRPr>
            </a:lvl4pPr>
            <a:lvl5pPr marL="2286000" lvl="4" indent="-22860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25000"/>
              <a:buFont typeface="Helvetica Neue"/>
              <a:buNone/>
              <a:defRPr sz="25000" b="1">
                <a:solidFill>
                  <a:srgbClr val="004C7F"/>
                </a:solidFill>
              </a:defRPr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25"/>
          <p:cNvSpPr txBox="1">
            <a:spLocks noGrp="1"/>
          </p:cNvSpPr>
          <p:nvPr>
            <p:ph type="body" idx="2"/>
          </p:nvPr>
        </p:nvSpPr>
        <p:spPr>
          <a:xfrm>
            <a:off x="1206500" y="8262180"/>
            <a:ext cx="21971000" cy="934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25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Цитата">
  <p:cSld name="Цитата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26"/>
          <p:cNvSpPr txBox="1">
            <a:spLocks noGrp="1"/>
          </p:cNvSpPr>
          <p:nvPr>
            <p:ph type="body" idx="1"/>
          </p:nvPr>
        </p:nvSpPr>
        <p:spPr>
          <a:xfrm>
            <a:off x="2480825" y="10675453"/>
            <a:ext cx="20149252" cy="636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Helvetica Neue"/>
              <a:buNone/>
              <a:defRPr sz="36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26"/>
          <p:cNvSpPr txBox="1">
            <a:spLocks noGrp="1"/>
          </p:cNvSpPr>
          <p:nvPr>
            <p:ph type="body" idx="2"/>
          </p:nvPr>
        </p:nvSpPr>
        <p:spPr>
          <a:xfrm>
            <a:off x="1753923" y="4939860"/>
            <a:ext cx="20876154" cy="383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26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Фото (3 шт.)">
  <p:cSld name="Фото (3 шт.)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27"/>
          <p:cNvSpPr>
            <a:spLocks noGrp="1"/>
          </p:cNvSpPr>
          <p:nvPr>
            <p:ph type="pic" idx="2"/>
          </p:nvPr>
        </p:nvSpPr>
        <p:spPr>
          <a:xfrm>
            <a:off x="15436504" y="1270000"/>
            <a:ext cx="8167167" cy="5422900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27"/>
          <p:cNvSpPr>
            <a:spLocks noGrp="1"/>
          </p:cNvSpPr>
          <p:nvPr>
            <p:ph type="pic" idx="3"/>
          </p:nvPr>
        </p:nvSpPr>
        <p:spPr>
          <a:xfrm>
            <a:off x="15461772" y="7085972"/>
            <a:ext cx="8148414" cy="5432276"/>
          </a:xfrm>
          <a:prstGeom prst="rect">
            <a:avLst/>
          </a:prstGeom>
          <a:noFill/>
          <a:ln>
            <a:noFill/>
          </a:ln>
        </p:spPr>
      </p:sp>
      <p:sp>
        <p:nvSpPr>
          <p:cNvPr id="65" name="Google Shape;65;p27"/>
          <p:cNvSpPr>
            <a:spLocks noGrp="1"/>
          </p:cNvSpPr>
          <p:nvPr>
            <p:ph type="pic" idx="4"/>
          </p:nvPr>
        </p:nvSpPr>
        <p:spPr>
          <a:xfrm>
            <a:off x="-124635" y="1270000"/>
            <a:ext cx="16859219" cy="11239479"/>
          </a:xfrm>
          <a:prstGeom prst="rect">
            <a:avLst/>
          </a:prstGeom>
          <a:noFill/>
          <a:ln>
            <a:noFill/>
          </a:ln>
        </p:spPr>
      </p:sp>
      <p:sp>
        <p:nvSpPr>
          <p:cNvPr id="66" name="Google Shape;66;p27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Фото">
  <p:cSld name="Фото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8"/>
          <p:cNvSpPr>
            <a:spLocks noGrp="1"/>
          </p:cNvSpPr>
          <p:nvPr>
            <p:ph type="pic" idx="2"/>
          </p:nvPr>
        </p:nvSpPr>
        <p:spPr>
          <a:xfrm>
            <a:off x="0" y="-1270000"/>
            <a:ext cx="24384000" cy="16256000"/>
          </a:xfrm>
          <a:prstGeom prst="rect">
            <a:avLst/>
          </a:prstGeom>
          <a:noFill/>
          <a:ln>
            <a:noFill/>
          </a:ln>
        </p:spPr>
      </p:sp>
      <p:sp>
        <p:nvSpPr>
          <p:cNvPr id="69" name="Google Shape;69;p28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">
  <p:cSld name="Пустой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9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пункты" type="tx">
  <p:cSld name="TITLE_AND_BOD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1206500" y="952500"/>
            <a:ext cx="21971000" cy="1433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1206500" y="2245962"/>
            <a:ext cx="21971000" cy="934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body" idx="2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>
  <p:cSld name="Только заголовок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7"/>
          <p:cNvSpPr txBox="1">
            <a:spLocks noGrp="1"/>
          </p:cNvSpPr>
          <p:nvPr>
            <p:ph type="title"/>
          </p:nvPr>
        </p:nvSpPr>
        <p:spPr>
          <a:xfrm>
            <a:off x="1206500" y="952500"/>
            <a:ext cx="21971000" cy="1434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7"/>
          <p:cNvSpPr txBox="1">
            <a:spLocks noGrp="1"/>
          </p:cNvSpPr>
          <p:nvPr>
            <p:ph type="body" idx="1"/>
          </p:nvPr>
        </p:nvSpPr>
        <p:spPr>
          <a:xfrm>
            <a:off x="1206500" y="2247900"/>
            <a:ext cx="21971000" cy="934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17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 фото">
  <p:cSld name="Заголовок и фото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8"/>
          <p:cNvSpPr>
            <a:spLocks noGrp="1"/>
          </p:cNvSpPr>
          <p:nvPr>
            <p:ph type="pic" idx="2"/>
          </p:nvPr>
        </p:nvSpPr>
        <p:spPr>
          <a:xfrm>
            <a:off x="0" y="-1270000"/>
            <a:ext cx="24384000" cy="16256000"/>
          </a:xfrm>
          <a:prstGeom prst="rect">
            <a:avLst/>
          </a:prstGeom>
          <a:noFill/>
          <a:ln>
            <a:noFill/>
          </a:ln>
        </p:spPr>
      </p:sp>
      <p:sp>
        <p:nvSpPr>
          <p:cNvPr id="25" name="Google Shape;25;p18"/>
          <p:cNvSpPr txBox="1">
            <a:spLocks noGrp="1"/>
          </p:cNvSpPr>
          <p:nvPr>
            <p:ph type="title"/>
          </p:nvPr>
        </p:nvSpPr>
        <p:spPr>
          <a:xfrm>
            <a:off x="1206500" y="7124700"/>
            <a:ext cx="21971000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600"/>
              <a:buFont typeface="Helvetica Neue"/>
              <a:buNone/>
              <a:defRPr sz="11600">
                <a:solidFill>
                  <a:srgbClr val="FFFFFF"/>
                </a:solidFill>
              </a:defRPr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18"/>
          <p:cNvSpPr txBox="1">
            <a:spLocks noGrp="1"/>
          </p:cNvSpPr>
          <p:nvPr>
            <p:ph type="body" idx="1"/>
          </p:nvPr>
        </p:nvSpPr>
        <p:spPr>
          <a:xfrm>
            <a:off x="1207690" y="1106137"/>
            <a:ext cx="21968621" cy="636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Helvetica Neue"/>
              <a:buNone/>
              <a:defRPr sz="36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18"/>
          <p:cNvSpPr txBox="1">
            <a:spLocks noGrp="1"/>
          </p:cNvSpPr>
          <p:nvPr>
            <p:ph type="body" idx="3"/>
          </p:nvPr>
        </p:nvSpPr>
        <p:spPr>
          <a:xfrm>
            <a:off x="1206500" y="11609910"/>
            <a:ext cx="21971000" cy="1116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500"/>
              <a:buFont typeface="Helvetica Neue"/>
              <a:buNone/>
              <a:defRPr sz="5500" b="1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500"/>
              <a:buFont typeface="Helvetica Neue"/>
              <a:buNone/>
              <a:defRPr sz="5500" b="1">
                <a:solidFill>
                  <a:srgbClr val="FFFFFF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500"/>
              <a:buFont typeface="Helvetica Neue"/>
              <a:buNone/>
              <a:defRPr sz="5500" b="1">
                <a:solidFill>
                  <a:srgbClr val="FFFFFF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500"/>
              <a:buFont typeface="Helvetica Neue"/>
              <a:buNone/>
              <a:defRPr sz="5500" b="1">
                <a:solidFill>
                  <a:srgbClr val="FFFFFF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500"/>
              <a:buFont typeface="Helvetica Neue"/>
              <a:buNone/>
              <a:defRPr sz="5500" b="1">
                <a:solidFill>
                  <a:srgbClr val="FFFFFF"/>
                </a:solidFill>
              </a:defRPr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18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 фото (вариант)">
  <p:cSld name="Заголовок и фото (вариант)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9"/>
          <p:cNvSpPr>
            <a:spLocks noGrp="1"/>
          </p:cNvSpPr>
          <p:nvPr>
            <p:ph type="pic" idx="2"/>
          </p:nvPr>
        </p:nvSpPr>
        <p:spPr>
          <a:xfrm>
            <a:off x="9226574" y="1270000"/>
            <a:ext cx="16840152" cy="11184435"/>
          </a:xfrm>
          <a:prstGeom prst="rect">
            <a:avLst/>
          </a:prstGeom>
          <a:noFill/>
          <a:ln>
            <a:noFill/>
          </a:ln>
        </p:spPr>
      </p:sp>
      <p:sp>
        <p:nvSpPr>
          <p:cNvPr id="31" name="Google Shape;31;p19"/>
          <p:cNvSpPr txBox="1">
            <a:spLocks noGrp="1"/>
          </p:cNvSpPr>
          <p:nvPr>
            <p:ph type="title"/>
          </p:nvPr>
        </p:nvSpPr>
        <p:spPr>
          <a:xfrm>
            <a:off x="1206500" y="1270000"/>
            <a:ext cx="9779000" cy="58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9"/>
          <p:cNvSpPr txBox="1">
            <a:spLocks noGrp="1"/>
          </p:cNvSpPr>
          <p:nvPr>
            <p:ph type="body" idx="1"/>
          </p:nvPr>
        </p:nvSpPr>
        <p:spPr>
          <a:xfrm>
            <a:off x="1206500" y="7060576"/>
            <a:ext cx="9779000" cy="5385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9"/>
          <p:cNvSpPr txBox="1">
            <a:spLocks noGrp="1"/>
          </p:cNvSpPr>
          <p:nvPr>
            <p:ph type="sldNum" idx="1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нкты">
  <p:cSld name="Пункты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20"/>
          <p:cNvSpPr txBox="1">
            <a:spLocks noGrp="1"/>
          </p:cNvSpPr>
          <p:nvPr>
            <p:ph type="body" idx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0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, пункты и фото">
  <p:cSld name="Заголовок, пункты и фото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21"/>
          <p:cNvSpPr txBox="1">
            <a:spLocks noGrp="1"/>
          </p:cNvSpPr>
          <p:nvPr>
            <p:ph type="body" idx="1"/>
          </p:nvPr>
        </p:nvSpPr>
        <p:spPr>
          <a:xfrm>
            <a:off x="1206500" y="2247900"/>
            <a:ext cx="9779000" cy="934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21"/>
          <p:cNvSpPr txBox="1">
            <a:spLocks noGrp="1"/>
          </p:cNvSpPr>
          <p:nvPr>
            <p:ph type="body" idx="2"/>
          </p:nvPr>
        </p:nvSpPr>
        <p:spPr>
          <a:xfrm>
            <a:off x="1206500" y="4248504"/>
            <a:ext cx="9779000" cy="8256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21"/>
          <p:cNvSpPr>
            <a:spLocks noGrp="1"/>
          </p:cNvSpPr>
          <p:nvPr>
            <p:ph type="pic" idx="3"/>
          </p:nvPr>
        </p:nvSpPr>
        <p:spPr>
          <a:xfrm>
            <a:off x="8432800" y="1263848"/>
            <a:ext cx="16850011" cy="11188205"/>
          </a:xfrm>
          <a:prstGeom prst="rect">
            <a:avLst/>
          </a:prstGeom>
          <a:noFill/>
          <a:ln>
            <a:noFill/>
          </a:ln>
        </p:spPr>
      </p:sp>
      <p:sp>
        <p:nvSpPr>
          <p:cNvPr id="41" name="Google Shape;41;p21"/>
          <p:cNvSpPr txBox="1">
            <a:spLocks noGrp="1"/>
          </p:cNvSpPr>
          <p:nvPr>
            <p:ph type="title"/>
          </p:nvPr>
        </p:nvSpPr>
        <p:spPr>
          <a:xfrm>
            <a:off x="1206500" y="952500"/>
            <a:ext cx="9779000" cy="14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1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аздел">
  <p:cSld name="Раздел">
    <p:bg>
      <p:bgPr>
        <a:solidFill>
          <a:srgbClr val="00346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2"/>
          <p:cNvSpPr txBox="1">
            <a:spLocks noGrp="1"/>
          </p:cNvSpPr>
          <p:nvPr>
            <p:ph type="title"/>
          </p:nvPr>
        </p:nvSpPr>
        <p:spPr>
          <a:xfrm>
            <a:off x="1206496" y="4533900"/>
            <a:ext cx="21971004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600"/>
              <a:buFont typeface="Helvetica Neue"/>
              <a:buNone/>
              <a:defRPr sz="11600" b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2"/>
          <p:cNvSpPr txBox="1">
            <a:spLocks noGrp="1"/>
          </p:cNvSpPr>
          <p:nvPr>
            <p:ph type="sldNum" idx="1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Helvetica Neue"/>
              <a:buNone/>
              <a:defRPr>
                <a:solidFill>
                  <a:srgbClr val="FFFFFF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овестка дня">
  <p:cSld name="Повестка дня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3"/>
          <p:cNvSpPr txBox="1">
            <a:spLocks noGrp="1"/>
          </p:cNvSpPr>
          <p:nvPr>
            <p:ph type="title"/>
          </p:nvPr>
        </p:nvSpPr>
        <p:spPr>
          <a:xfrm>
            <a:off x="1206500" y="952500"/>
            <a:ext cx="21971000" cy="14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23"/>
          <p:cNvSpPr txBox="1">
            <a:spLocks noGrp="1"/>
          </p:cNvSpPr>
          <p:nvPr>
            <p:ph type="body" idx="1"/>
          </p:nvPr>
        </p:nvSpPr>
        <p:spPr>
          <a:xfrm>
            <a:off x="1206500" y="2247900"/>
            <a:ext cx="21971000" cy="934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 b="1"/>
            </a:lvl1pPr>
            <a:lvl2pPr marL="914400" lvl="1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1371600" lvl="2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1828800" lvl="3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2286000" lvl="4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23"/>
          <p:cNvSpPr txBox="1">
            <a:spLocks noGrp="1"/>
          </p:cNvSpPr>
          <p:nvPr>
            <p:ph type="body" idx="2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/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/>
            </a:lvl2pPr>
            <a:lvl3pPr marL="1371600" lvl="2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/>
            </a:lvl3pPr>
            <a:lvl4pPr marL="1828800" lvl="3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/>
            </a:lvl4pPr>
            <a:lvl5pPr marL="2286000" lvl="4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5500"/>
            </a:lvl5pPr>
            <a:lvl6pPr marL="2743200" lvl="5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3200400" lvl="6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3657600" lvl="7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4114800" lvl="8" indent="-369189" algn="l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23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solidFill>
                  <a:srgbClr val="000000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3601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4"/>
          <p:cNvSpPr txBox="1">
            <a:spLocks noGrp="1"/>
          </p:cNvSpPr>
          <p:nvPr>
            <p:ph type="title"/>
          </p:nvPr>
        </p:nvSpPr>
        <p:spPr>
          <a:xfrm>
            <a:off x="1206500" y="952500"/>
            <a:ext cx="21971000" cy="1433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  <a:defRPr sz="8500" b="1" i="0" u="none" strike="noStrike" cap="none">
                <a:solidFill>
                  <a:srgbClr val="004C7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" name="Google Shape;7;p14"/>
          <p:cNvSpPr txBox="1">
            <a:spLocks noGrp="1"/>
          </p:cNvSpPr>
          <p:nvPr>
            <p:ph type="body" idx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marR="0" lvl="0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03504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03503" algn="l" rtl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5904"/>
              <a:buFont typeface="Helvetica Neue"/>
              <a:buChar char="•"/>
              <a:defRPr sz="4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" name="Google Shape;8;p14"/>
          <p:cNvSpPr txBox="1">
            <a:spLocks noGrp="1"/>
          </p:cNvSpPr>
          <p:nvPr>
            <p:ph type="sldNum" idx="1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jp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emf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.jp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7.jp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53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Google Shape;76;p1"/>
          <p:cNvSpPr txBox="1">
            <a:spLocks noGrp="1"/>
          </p:cNvSpPr>
          <p:nvPr>
            <p:ph type="ctrTitle" idx="4294967295"/>
          </p:nvPr>
        </p:nvSpPr>
        <p:spPr>
          <a:xfrm>
            <a:off x="419400" y="2334049"/>
            <a:ext cx="23552223" cy="8190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600"/>
              <a:buFont typeface="Helvetica Neue"/>
              <a:buNone/>
            </a:pPr>
            <a:r>
              <a:rPr lang="ru-RU" sz="16000" dirty="0" smtClean="0">
                <a:solidFill>
                  <a:srgbClr val="FFFFFF"/>
                </a:solidFill>
              </a:rPr>
              <a:t>Развитие </a:t>
            </a:r>
            <a:r>
              <a:rPr lang="ru-RU" sz="16000" dirty="0">
                <a:solidFill>
                  <a:srgbClr val="FFFFFF"/>
                </a:solidFill>
              </a:rPr>
              <a:t>с</a:t>
            </a:r>
            <a:r>
              <a:rPr lang="ru-RU" sz="16000" dirty="0" smtClean="0">
                <a:solidFill>
                  <a:srgbClr val="FFFFFF"/>
                </a:solidFill>
              </a:rPr>
              <a:t>амого перспективного региона на Дальнем Востоке</a:t>
            </a:r>
            <a:endParaRPr sz="16000" dirty="0">
              <a:solidFill>
                <a:srgbClr val="FFFFFF"/>
              </a:solidFill>
            </a:endParaRPr>
          </a:p>
        </p:txBody>
      </p:sp>
      <p:sp>
        <p:nvSpPr>
          <p:cNvPr id="77" name="Google Shape;77;p1"/>
          <p:cNvSpPr txBox="1"/>
          <p:nvPr/>
        </p:nvSpPr>
        <p:spPr>
          <a:xfrm>
            <a:off x="1402975" y="11611525"/>
            <a:ext cx="24552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dirty="0" smtClea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3000" dirty="0" smtClea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.</a:t>
            </a:r>
            <a:r>
              <a:rPr lang="en-US" sz="300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u</a:t>
            </a:r>
            <a:endParaRPr sz="300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752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Google Shape;150;p12"/>
          <p:cNvSpPr txBox="1"/>
          <p:nvPr/>
        </p:nvSpPr>
        <p:spPr>
          <a:xfrm>
            <a:off x="1206854" y="2640090"/>
            <a:ext cx="22339500" cy="10566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Мы провели 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MV</a:t>
            </a:r>
            <a:r>
              <a:rPr lang="en-US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P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, услуга спросом пользуется.</a:t>
            </a:r>
            <a:endParaRPr sz="4000" i="0" u="none" strike="noStrike" cap="none" dirty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Нам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хватит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4,0 млн </a:t>
            </a:r>
            <a:r>
              <a:rPr lang="ru-RU" sz="40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уб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на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команду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на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1,5 </a:t>
            </a: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года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(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ФОТ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, аренда жилья, 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огружение в проект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)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.</a:t>
            </a:r>
          </a:p>
          <a:p>
            <a:pPr lvl="0">
              <a:buClr>
                <a:srgbClr val="333333"/>
              </a:buClr>
              <a:buSzPts val="4000"/>
            </a:pP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ервоначальные затраты составят 200 млн. Выручка с аренды 20 2-х комнатных квартир по средней цене 100 000 составит 100000х20х12=24 000 000 млн. в год. За 4 года выручка составит 96 000 000 руб.</a:t>
            </a:r>
          </a:p>
          <a:p>
            <a:pPr lvl="0">
              <a:buClr>
                <a:srgbClr val="333333"/>
              </a:buClr>
              <a:buSzPts val="4000"/>
            </a:pPr>
            <a:r>
              <a:rPr lang="ru-RU" sz="4000" b="1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о статистике за </a:t>
            </a:r>
            <a:r>
              <a:rPr lang="ru-RU" sz="4000" b="1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оследние </a:t>
            </a:r>
            <a:r>
              <a:rPr lang="ru-RU" sz="4000" b="1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0 </a:t>
            </a:r>
            <a:r>
              <a:rPr lang="ru-RU" sz="4000" b="1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лет квартиры стали </a:t>
            </a:r>
            <a:r>
              <a:rPr lang="ru-RU" sz="4000" b="1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стоить в 3,5 раза дороже на первичном рынке и </a:t>
            </a:r>
            <a:r>
              <a:rPr lang="ru-RU" sz="4000" b="1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в 2 раза на вторичном рынке</a:t>
            </a:r>
            <a:r>
              <a:rPr lang="ru-RU" sz="4000" b="1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. </a:t>
            </a:r>
          </a:p>
          <a:p>
            <a:pPr lvl="0">
              <a:buClr>
                <a:srgbClr val="333333"/>
              </a:buClr>
              <a:buSzPts val="4000"/>
            </a:pP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Можем принять в расчет, что за 4 года квартиры подорожают в среднем на 40%. </a:t>
            </a:r>
          </a:p>
          <a:p>
            <a:pPr lvl="0">
              <a:buClr>
                <a:srgbClr val="333333"/>
              </a:buClr>
              <a:buSzPts val="4000"/>
            </a:pP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Итоговая выручка после продажи квартир составит: </a:t>
            </a:r>
            <a:endParaRPr lang="en-US" sz="4000" smtClean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lvl="0">
              <a:buClr>
                <a:srgbClr val="333333"/>
              </a:buClr>
              <a:buSzPts val="4000"/>
            </a:pPr>
            <a:r>
              <a:rPr lang="en-US" sz="400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R=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92 +192х0,4+96 = 364 млн </a:t>
            </a:r>
            <a:r>
              <a:rPr lang="ru-RU" sz="4000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уб</a:t>
            </a:r>
            <a:r>
              <a:rPr lang="en-US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.</a:t>
            </a:r>
          </a:p>
          <a:p>
            <a:pPr lvl="0">
              <a:buClr>
                <a:srgbClr val="333333"/>
              </a:buClr>
              <a:buSzPts val="4000"/>
            </a:pPr>
            <a:endParaRPr lang="ru-RU" sz="4000" dirty="0" smtClean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lvl="0">
              <a:buClr>
                <a:srgbClr val="333333"/>
              </a:buClr>
              <a:buSzPts val="4000"/>
            </a:pP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Коэффициент окупаемости инвестиций:</a:t>
            </a:r>
          </a:p>
          <a:p>
            <a:pPr lvl="0">
              <a:buClr>
                <a:srgbClr val="333333"/>
              </a:buClr>
              <a:buSzPts val="4000"/>
            </a:pPr>
            <a:r>
              <a:rPr lang="en-US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ROI=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(</a:t>
            </a:r>
            <a:r>
              <a:rPr lang="en-US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(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364-196)/196)х100%= 85,7% за 4 года</a:t>
            </a:r>
            <a:r>
              <a:rPr lang="ru-RU" sz="4000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или в среднем 21,4 % в год.</a:t>
            </a:r>
          </a:p>
          <a:p>
            <a:pPr lvl="0">
              <a:buClr>
                <a:srgbClr val="333333"/>
              </a:buClr>
              <a:buSzPts val="4000"/>
            </a:pPr>
            <a:endParaRPr lang="ru-RU" sz="4000" dirty="0" smtClean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lvl="0">
              <a:buClr>
                <a:srgbClr val="333333"/>
              </a:buClr>
              <a:buSzPts val="4000"/>
            </a:pP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Кроме того, инвестиции в недвижимость – это одни из самых надежных защитных видов инвести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ций, которые в долгую позволят увеличить капитал с минимальными рисками.</a:t>
            </a:r>
            <a:endParaRPr sz="4000" i="0" u="none" strike="noStrike" cap="none" dirty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endParaRPr sz="4000" i="0" u="none" strike="noStrike" cap="none" dirty="0">
              <a:solidFill>
                <a:srgbClr val="33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1" name="Google Shape;151;p12"/>
          <p:cNvSpPr txBox="1">
            <a:spLocks noGrp="1"/>
          </p:cNvSpPr>
          <p:nvPr>
            <p:ph type="title"/>
          </p:nvPr>
        </p:nvSpPr>
        <p:spPr>
          <a:xfrm>
            <a:off x="1206854" y="956364"/>
            <a:ext cx="21971100" cy="10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 dirty="0" err="1">
                <a:solidFill>
                  <a:srgbClr val="000000"/>
                </a:solidFill>
              </a:rPr>
              <a:t>КУДА</a:t>
            </a:r>
            <a:r>
              <a:rPr lang="en-US" sz="7200" dirty="0">
                <a:solidFill>
                  <a:srgbClr val="000000"/>
                </a:solidFill>
              </a:rPr>
              <a:t> </a:t>
            </a:r>
            <a:r>
              <a:rPr lang="en-US" sz="7200" dirty="0" err="1">
                <a:solidFill>
                  <a:srgbClr val="000000"/>
                </a:solidFill>
              </a:rPr>
              <a:t>ПОЙДУТ</a:t>
            </a:r>
            <a:r>
              <a:rPr lang="en-US" sz="7200" dirty="0">
                <a:solidFill>
                  <a:srgbClr val="000000"/>
                </a:solidFill>
              </a:rPr>
              <a:t> </a:t>
            </a:r>
            <a:r>
              <a:rPr lang="en-US" sz="7200" dirty="0" err="1">
                <a:solidFill>
                  <a:srgbClr val="000000"/>
                </a:solidFill>
              </a:rPr>
              <a:t>ИНВЕСТИЦИИ</a:t>
            </a:r>
            <a:endParaRPr sz="7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13"/>
          <p:cNvSpPr txBox="1"/>
          <p:nvPr/>
        </p:nvSpPr>
        <p:spPr>
          <a:xfrm>
            <a:off x="5999750" y="3674619"/>
            <a:ext cx="17417700" cy="5242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Кудряшов Андрей Рудольфович</a:t>
            </a:r>
            <a:r>
              <a:rPr lang="en-US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(</a:t>
            </a:r>
            <a:r>
              <a:rPr lang="ru-RU" sz="4000" dirty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Н</a:t>
            </a:r>
            <a:r>
              <a:rPr lang="ru-RU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едвижимость на ДВ </a:t>
            </a:r>
            <a:r>
              <a:rPr lang="ru-RU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– 196 </a:t>
            </a:r>
            <a:r>
              <a:rPr lang="en-US" sz="4000" i="0" u="none" strike="noStrike" cap="none" dirty="0" err="1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млн</a:t>
            </a: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.</a:t>
            </a:r>
            <a:r>
              <a:rPr lang="ru-RU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руб.</a:t>
            </a:r>
            <a:r>
              <a:rPr lang="en-US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)</a:t>
            </a:r>
            <a:endParaRPr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4000" i="0" u="none" strike="noStrike" cap="none"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Telegram</a:t>
            </a:r>
            <a:r>
              <a:rPr lang="ru-RU" sz="4000" dirty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:</a:t>
            </a:r>
            <a:r>
              <a:rPr lang="en-US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b="1" dirty="0" smtClea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@</a:t>
            </a:r>
            <a:r>
              <a:rPr lang="en-US" sz="4000" b="1" dirty="0" err="1" smtClea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dAndy_ST</a:t>
            </a:r>
            <a:endParaRPr b="1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4000" i="0" u="none" strike="noStrike" cap="none"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E-mail</a:t>
            </a:r>
            <a:r>
              <a:rPr lang="ru-RU" sz="4000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:</a:t>
            </a: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b="1" dirty="0" smtClean="0">
                <a:solidFill>
                  <a:srgbClr val="FFFFFF"/>
                </a:solidFill>
                <a:latin typeface="Helvetica Neue"/>
                <a:ea typeface="Helvetica Neue Light"/>
                <a:cs typeface="Helvetica Neue Light"/>
                <a:sym typeface="Helvetica Neue"/>
              </a:rPr>
              <a:t>rukuan73@mail.ru</a:t>
            </a:r>
            <a:endParaRPr sz="4000" b="1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4000"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Телефон</a:t>
            </a:r>
            <a:r>
              <a:rPr lang="ru-RU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, </a:t>
            </a: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Wats App, IMO</a:t>
            </a:r>
            <a:r>
              <a:rPr lang="ru-RU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:</a:t>
            </a:r>
            <a:r>
              <a:rPr lang="en-US" sz="4000" i="0" u="none" strike="noStrike" cap="none" dirty="0" smtClean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b="1" i="0" u="none" strike="noStrike" cap="none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+7 </a:t>
            </a:r>
            <a:r>
              <a:rPr lang="ru-RU" sz="4000" b="1" i="0" u="none" strike="noStrike" cap="none" dirty="0" smtClea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(987) 915-27-44</a:t>
            </a:r>
            <a:endParaRPr b="1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4000" i="0" u="none" strike="noStrike" cap="none"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dirty="0">
              <a:solidFill>
                <a:srgbClr val="FFFFFF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57" name="Google Shape;157;p13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>
                <a:solidFill>
                  <a:srgbClr val="FFFFFF"/>
                </a:solidFill>
              </a:rPr>
              <a:t>КОНТАКТЫ</a:t>
            </a:r>
            <a:endParaRPr sz="7200">
              <a:solidFill>
                <a:srgbClr val="FFFFFF"/>
              </a:solidFill>
            </a:endParaRPr>
          </a:p>
        </p:txBody>
      </p:sp>
      <p:pic>
        <p:nvPicPr>
          <p:cNvPr id="158" name="Google Shape;158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292400" y="3473902"/>
            <a:ext cx="3873300" cy="3873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6500" y="3473902"/>
            <a:ext cx="4099407" cy="507100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10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Google Shape;82;p3"/>
          <p:cNvSpPr txBox="1">
            <a:spLocks noGrp="1"/>
          </p:cNvSpPr>
          <p:nvPr>
            <p:ph type="title"/>
          </p:nvPr>
        </p:nvSpPr>
        <p:spPr>
          <a:xfrm>
            <a:off x="1206500" y="1219200"/>
            <a:ext cx="21971100" cy="192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ru-RU" sz="7200" dirty="0" smtClean="0">
                <a:solidFill>
                  <a:srgbClr val="000000"/>
                </a:solidFill>
              </a:rPr>
              <a:t>Ситуация на сегодняшний день</a:t>
            </a:r>
            <a:endParaRPr sz="7200" dirty="0">
              <a:solidFill>
                <a:srgbClr val="000000"/>
              </a:solidFill>
            </a:endParaRPr>
          </a:p>
        </p:txBody>
      </p:sp>
      <p:sp>
        <p:nvSpPr>
          <p:cNvPr id="83" name="Google Shape;83;p3"/>
          <p:cNvSpPr txBox="1"/>
          <p:nvPr/>
        </p:nvSpPr>
        <p:spPr>
          <a:xfrm>
            <a:off x="1206500" y="2537704"/>
            <a:ext cx="21204300" cy="10259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	В </a:t>
            </a:r>
            <a:r>
              <a:rPr lang="ru-RU" sz="4400" dirty="0"/>
              <a:t>соответствии с постановлением Правительства Российской Федерации от 3 июня 2017 г. N 673 </a:t>
            </a:r>
            <a:r>
              <a:rPr lang="ru-RU" sz="4400" dirty="0" smtClean="0"/>
              <a:t>создана территория </a:t>
            </a:r>
            <a:r>
              <a:rPr lang="ru-RU" sz="4400" dirty="0"/>
              <a:t>опережающего социально-экономического развития «</a:t>
            </a:r>
            <a:r>
              <a:rPr lang="ru-RU" sz="4400" dirty="0" smtClean="0"/>
              <a:t>Свободный». Согласно долгосрочного плана комплексного развития, инвестиции в бюджет г. Свободный на 2026 г составит 11.4 </a:t>
            </a:r>
            <a:r>
              <a:rPr lang="ru-RU" sz="4400" dirty="0" err="1" smtClean="0"/>
              <a:t>млр.руб</a:t>
            </a:r>
            <a:endParaRPr lang="ru-RU" sz="4400" dirty="0" smtClean="0"/>
          </a:p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	В </a:t>
            </a:r>
            <a:r>
              <a:rPr lang="ru-RU" sz="4400" dirty="0"/>
              <a:t>границах ТОР «Свободный» с</a:t>
            </a:r>
            <a:r>
              <a:rPr lang="ru-RU" sz="4400" dirty="0" smtClean="0"/>
              <a:t>троятся новые заводы-гиганты, появилось много новых рабочих мест. Высокие зарплаты. Очень высокая цена аренды жилья.  </a:t>
            </a:r>
          </a:p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	Однако, жилищный фонд города старый, строительство развивается медленно</a:t>
            </a:r>
            <a:r>
              <a:rPr lang="ru-RU" sz="4400" dirty="0"/>
              <a:t>, </a:t>
            </a:r>
            <a:r>
              <a:rPr lang="ru-RU" sz="4400" dirty="0" smtClean="0"/>
              <a:t>в основном </a:t>
            </a:r>
            <a:r>
              <a:rPr lang="ru-RU" sz="4400" dirty="0"/>
              <a:t>новые дома </a:t>
            </a:r>
            <a:r>
              <a:rPr lang="ru-RU" sz="4400" dirty="0" smtClean="0"/>
              <a:t>строятся под </a:t>
            </a:r>
            <a:r>
              <a:rPr lang="ru-RU" sz="4400" dirty="0"/>
              <a:t>переселение из аварийного фонда, для детей-сирот, арендное жилье для </a:t>
            </a:r>
            <a:r>
              <a:rPr lang="ru-RU" sz="4400" dirty="0" smtClean="0"/>
              <a:t>бюджетников. </a:t>
            </a:r>
          </a:p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	Для этих программ город нуждается в жилье. Так же, на ближайших несколько лет новое жилье будет необходимо для выгодной сдачи в аренду вахтовым работникам и продажу его новым жителям города.</a:t>
            </a:r>
          </a:p>
          <a:p>
            <a:pPr lvl="0">
              <a:buClr>
                <a:srgbClr val="333333"/>
              </a:buClr>
              <a:buSzPts val="5000"/>
            </a:pPr>
            <a:endParaRPr sz="44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712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Google Shape;88;p4"/>
          <p:cNvSpPr txBox="1"/>
          <p:nvPr/>
        </p:nvSpPr>
        <p:spPr>
          <a:xfrm>
            <a:off x="8953279" y="4710800"/>
            <a:ext cx="13058100" cy="367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AM </a:t>
            </a:r>
            <a:r>
              <a:rPr lang="en-US" sz="5700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– </a:t>
            </a:r>
            <a:r>
              <a:rPr lang="ru-RU" sz="6700" b="1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</a:t>
            </a:r>
            <a:r>
              <a:rPr lang="ru-RU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,1</a:t>
            </a:r>
            <a:r>
              <a:rPr lang="en-US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6700" b="1" i="0" u="none" strike="noStrike" cap="none" dirty="0" err="1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млр.руб</a:t>
            </a: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в </a:t>
            </a:r>
            <a:r>
              <a:rPr lang="en-US" sz="5700" i="0" u="none" strike="noStrike" cap="none" dirty="0" err="1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год</a:t>
            </a:r>
            <a:endParaRPr sz="5700" dirty="0">
              <a:solidFill>
                <a:srgbClr val="33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 </a:t>
            </a:r>
            <a:r>
              <a:rPr lang="en-US" sz="5700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– </a:t>
            </a:r>
            <a:r>
              <a:rPr lang="ru-RU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900 </a:t>
            </a:r>
            <a:r>
              <a:rPr lang="en-US" sz="6700" b="1" i="0" u="none" strike="noStrike" cap="none" dirty="0" err="1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мл</a:t>
            </a:r>
            <a:r>
              <a:rPr lang="ru-RU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н</a:t>
            </a:r>
            <a:r>
              <a:rPr lang="en-US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.</a:t>
            </a:r>
            <a:r>
              <a:rPr lang="en-US" sz="6700" b="1" i="0" u="none" strike="noStrike" cap="none" dirty="0" err="1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руб</a:t>
            </a:r>
            <a:r>
              <a:rPr lang="en-US" sz="5700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в </a:t>
            </a:r>
            <a:r>
              <a:rPr lang="en-US" sz="5700" i="0" u="none" strike="noStrike" cap="none" dirty="0" err="1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год</a:t>
            </a:r>
            <a:endParaRPr sz="3100" dirty="0"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OM - </a:t>
            </a:r>
            <a:r>
              <a:rPr lang="ru-RU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50</a:t>
            </a:r>
            <a:r>
              <a:rPr lang="en-US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6700" b="1" i="0" u="none" strike="noStrike" cap="none" dirty="0" err="1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мл</a:t>
            </a:r>
            <a:r>
              <a:rPr lang="ru-RU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н</a:t>
            </a:r>
            <a:r>
              <a:rPr lang="en-US" sz="6700" b="1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.</a:t>
            </a:r>
            <a:r>
              <a:rPr lang="en-US" sz="6700" b="1" i="0" u="none" strike="noStrike" cap="none" dirty="0" err="1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руб</a:t>
            </a:r>
            <a:r>
              <a:rPr lang="en-US" sz="5700" i="0" u="none" strike="noStrike" cap="none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5700" i="0" u="none" strike="noStrike" cap="none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в </a:t>
            </a:r>
            <a:r>
              <a:rPr lang="en-US" sz="5700" i="0" u="none" strike="noStrike" cap="none" dirty="0" err="1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год</a:t>
            </a:r>
            <a:endParaRPr sz="5700" i="0" u="none" strike="noStrike" cap="none" dirty="0">
              <a:solidFill>
                <a:srgbClr val="33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3100" dirty="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9" name="Google Shape;89;p4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ru-RU" sz="7200" dirty="0" smtClean="0">
                <a:solidFill>
                  <a:srgbClr val="000000"/>
                </a:solidFill>
              </a:rPr>
              <a:t>Рынок</a:t>
            </a:r>
            <a:r>
              <a:rPr lang="en-US" sz="7200" dirty="0" smtClean="0">
                <a:solidFill>
                  <a:srgbClr val="000000"/>
                </a:solidFill>
              </a:rPr>
              <a:t> </a:t>
            </a:r>
            <a:r>
              <a:rPr lang="ru-RU" sz="7200" dirty="0" smtClean="0">
                <a:solidFill>
                  <a:srgbClr val="000000"/>
                </a:solidFill>
              </a:rPr>
              <a:t>жилья в г. Свободный</a:t>
            </a:r>
            <a:endParaRPr sz="7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630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Google Shape;94;p5"/>
          <p:cNvSpPr txBox="1"/>
          <p:nvPr/>
        </p:nvSpPr>
        <p:spPr>
          <a:xfrm>
            <a:off x="931985" y="2785553"/>
            <a:ext cx="13592907" cy="7766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Вновь строящиеся производственные объекты в 26-27 г. позволят </a:t>
            </a:r>
            <a:r>
              <a:rPr lang="ru-RU" sz="4400" dirty="0"/>
              <a:t>создать в </a:t>
            </a:r>
            <a:r>
              <a:rPr lang="ru-RU" sz="4400" dirty="0" smtClean="0"/>
              <a:t>г. Свободном и его районе </a:t>
            </a:r>
            <a:r>
              <a:rPr lang="ru-RU" sz="4400" dirty="0"/>
              <a:t>больше четырех тысяч рабочих мест. </a:t>
            </a:r>
            <a:r>
              <a:rPr lang="ru-RU" sz="4400" dirty="0" smtClean="0"/>
              <a:t> Единственный ближайший город, который активно развивается – Свободный. Основной объем работников будет проживать именно здесь. И для данной категории работников будут необходимы обновленные жилищные условия.</a:t>
            </a:r>
          </a:p>
          <a:p>
            <a:pPr lvl="0">
              <a:buClr>
                <a:srgbClr val="333333"/>
              </a:buClr>
              <a:buSzPts val="5000"/>
            </a:pPr>
            <a:endParaRPr lang="ru-RU" sz="4400" dirty="0"/>
          </a:p>
          <a:p>
            <a:pPr lvl="0">
              <a:buClr>
                <a:srgbClr val="333333"/>
              </a:buClr>
              <a:buSzPts val="5000"/>
            </a:pPr>
            <a:r>
              <a:rPr lang="ru-RU" sz="4400" dirty="0" smtClean="0"/>
              <a:t>Данные взяты из «Стратегии социально-экономического развития г. Свободный до 2030 г.»  </a:t>
            </a:r>
            <a:endParaRPr sz="5000" b="0" i="0" u="none" strike="noStrike" cap="none" dirty="0">
              <a:solidFill>
                <a:srgbClr val="33333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5000"/>
              <a:buFont typeface="Arial"/>
              <a:buNone/>
            </a:pPr>
            <a:endParaRPr dirty="0"/>
          </a:p>
        </p:txBody>
      </p:sp>
      <p:sp>
        <p:nvSpPr>
          <p:cNvPr id="95" name="Google Shape;95;p5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 dirty="0">
                <a:solidFill>
                  <a:srgbClr val="000000"/>
                </a:solidFill>
              </a:rPr>
              <a:t>ТРЕНДЫ РЫНКА </a:t>
            </a:r>
            <a:r>
              <a:rPr lang="ru-RU" sz="7200" dirty="0" smtClean="0">
                <a:solidFill>
                  <a:srgbClr val="000000"/>
                </a:solidFill>
              </a:rPr>
              <a:t>ЖИЛЬЯ В г. СВОБОДНОМ</a:t>
            </a:r>
            <a:endParaRPr sz="7200" dirty="0">
              <a:solidFill>
                <a:srgbClr val="000000"/>
              </a:solidFill>
            </a:endParaRPr>
          </a:p>
        </p:txBody>
      </p:sp>
      <p:pic>
        <p:nvPicPr>
          <p:cNvPr id="96" name="Google Shape;96;p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4675925" y="4148600"/>
            <a:ext cx="8318326" cy="87676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39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6"/>
          <p:cNvSpPr txBox="1"/>
          <p:nvPr/>
        </p:nvSpPr>
        <p:spPr>
          <a:xfrm>
            <a:off x="1206500" y="2316164"/>
            <a:ext cx="21971100" cy="10105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5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	Жилья в городе строится недостаточно, спрос на  малогабаритные квартиры высокий. Квартиры в городе строятся 2-3 и более комнатные для предоставления его в аренду временным наемным работникам с семьями. На сегодняшний день стоимость аренды двухкомнатной квартиры 60-65 м2 – 120-130 тыс. руб. Решение: необходимо строительство нового многоквартирного жилья либо покупка новых квартир в новостройках, которые можно отремонтировать и сдавать в аренду 4-5 лет пока, пока высокий спрос на арендное жилье, а затем продать с дополнительной доходностью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5000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	</a:t>
            </a:r>
            <a:r>
              <a:rPr lang="ru-RU" sz="5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Также в регионе действует «Дальневосточная ипотека», по которой гражданам РФ определенных категорий выдают ипотеку на новое жилье до 9 млн. под 2% годовых на 20 лет. Это очень комфортные условия для приобретения жилья и сохранения ДС в период высокой инфляции.</a:t>
            </a:r>
            <a:endParaRPr sz="50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2" name="Google Shape;102;p6"/>
          <p:cNvSpPr txBox="1">
            <a:spLocks noGrp="1"/>
          </p:cNvSpPr>
          <p:nvPr>
            <p:ph type="title"/>
          </p:nvPr>
        </p:nvSpPr>
        <p:spPr>
          <a:xfrm>
            <a:off x="1206500" y="1153588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 dirty="0">
                <a:solidFill>
                  <a:srgbClr val="000000"/>
                </a:solidFill>
              </a:rPr>
              <a:t>РЕШЕНИЕ ПРОБЛЕМЫ</a:t>
            </a:r>
            <a:endParaRPr sz="7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7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>
                <a:solidFill>
                  <a:srgbClr val="000000"/>
                </a:solidFill>
              </a:rPr>
              <a:t>КОНКУРЕНТЫ</a:t>
            </a:r>
            <a:endParaRPr sz="7200">
              <a:solidFill>
                <a:srgbClr val="000000"/>
              </a:solidFill>
            </a:endParaRPr>
          </a:p>
        </p:txBody>
      </p:sp>
      <p:pic>
        <p:nvPicPr>
          <p:cNvPr id="108" name="Google Shape;108;p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206500" y="3296700"/>
            <a:ext cx="7594568" cy="5302051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Google Shape;109;p7"/>
          <p:cNvSpPr txBox="1"/>
          <p:nvPr/>
        </p:nvSpPr>
        <p:spPr>
          <a:xfrm>
            <a:off x="4208950" y="4393550"/>
            <a:ext cx="13107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0" name="Google Shape;110;p7"/>
          <p:cNvSpPr txBox="1"/>
          <p:nvPr/>
        </p:nvSpPr>
        <p:spPr>
          <a:xfrm>
            <a:off x="1790650" y="4285325"/>
            <a:ext cx="6387300" cy="3877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b="1" dirty="0" err="1" smtClean="0">
                <a:solidFill>
                  <a:srgbClr val="333333"/>
                </a:solidFill>
              </a:rPr>
              <a:t>Амурстрой</a:t>
            </a:r>
            <a:endParaRPr sz="3000" b="1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dirty="0" smtClean="0">
                <a:solidFill>
                  <a:srgbClr val="333333"/>
                </a:solidFill>
              </a:rPr>
              <a:t>На сегодня строит 9 этажный дом, микрорайон «Чесноки», в 2024 г было сдано 2 дома, один 5-ти и один 9-ти этажный, по ул. Станиславского. Все квартиры проданы </a:t>
            </a:r>
            <a:endParaRPr dirty="0"/>
          </a:p>
        </p:txBody>
      </p:sp>
      <p:pic>
        <p:nvPicPr>
          <p:cNvPr id="111" name="Google Shape;111;p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801082" y="3296699"/>
            <a:ext cx="7594568" cy="53020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" name="Google Shape;112;p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6569958" y="3296699"/>
            <a:ext cx="7594568" cy="5302051"/>
          </a:xfrm>
          <a:prstGeom prst="rect">
            <a:avLst/>
          </a:prstGeom>
          <a:noFill/>
          <a:ln>
            <a:noFill/>
          </a:ln>
        </p:spPr>
      </p:pic>
      <p:sp>
        <p:nvSpPr>
          <p:cNvPr id="113" name="Google Shape;113;p7"/>
          <p:cNvSpPr txBox="1"/>
          <p:nvPr/>
        </p:nvSpPr>
        <p:spPr>
          <a:xfrm>
            <a:off x="9271800" y="4393550"/>
            <a:ext cx="6387300" cy="249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b="1" dirty="0" smtClean="0">
                <a:solidFill>
                  <a:srgbClr val="333333"/>
                </a:solidFill>
              </a:rPr>
              <a:t>Жилой микрорайон</a:t>
            </a:r>
            <a:endParaRPr sz="3000" b="1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dirty="0" smtClean="0">
                <a:solidFill>
                  <a:srgbClr val="333333"/>
                </a:solidFill>
              </a:rPr>
              <a:t>Занимается строительством малоэтажного микрорайона для работников компании «Газпром»</a:t>
            </a:r>
            <a:endParaRPr dirty="0"/>
          </a:p>
        </p:txBody>
      </p:sp>
      <p:sp>
        <p:nvSpPr>
          <p:cNvPr id="114" name="Google Shape;114;p7"/>
          <p:cNvSpPr txBox="1"/>
          <p:nvPr/>
        </p:nvSpPr>
        <p:spPr>
          <a:xfrm>
            <a:off x="17018775" y="4470075"/>
            <a:ext cx="6387300" cy="341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b="1" dirty="0" smtClean="0">
                <a:solidFill>
                  <a:srgbClr val="333333"/>
                </a:solidFill>
              </a:rPr>
              <a:t>АР строй</a:t>
            </a:r>
            <a:endParaRPr sz="3000" b="1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solidFill>
                <a:srgbClr val="33333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000" dirty="0" smtClean="0">
                <a:solidFill>
                  <a:srgbClr val="333333"/>
                </a:solidFill>
              </a:rPr>
              <a:t>На сегодня строит 9-этажный дом по ул. </a:t>
            </a:r>
            <a:r>
              <a:rPr lang="ru-RU" sz="3000" dirty="0" err="1" smtClean="0">
                <a:solidFill>
                  <a:srgbClr val="333333"/>
                </a:solidFill>
              </a:rPr>
              <a:t>Шатковская</a:t>
            </a:r>
            <a:r>
              <a:rPr lang="ru-RU" sz="3000" dirty="0" smtClean="0">
                <a:solidFill>
                  <a:srgbClr val="333333"/>
                </a:solidFill>
              </a:rPr>
              <a:t>, стоимость жилья без отделки: 1-комн квартиры 5,7млн </a:t>
            </a:r>
            <a:r>
              <a:rPr lang="ru-RU" sz="3000" dirty="0" err="1" smtClean="0">
                <a:solidFill>
                  <a:srgbClr val="333333"/>
                </a:solidFill>
              </a:rPr>
              <a:t>руб</a:t>
            </a:r>
            <a:r>
              <a:rPr lang="ru-RU" sz="3000" dirty="0" smtClean="0">
                <a:solidFill>
                  <a:srgbClr val="333333"/>
                </a:solidFill>
              </a:rPr>
              <a:t>, 2 </a:t>
            </a:r>
            <a:r>
              <a:rPr lang="ru-RU" sz="3000" dirty="0" err="1" smtClean="0">
                <a:solidFill>
                  <a:srgbClr val="333333"/>
                </a:solidFill>
              </a:rPr>
              <a:t>комн</a:t>
            </a:r>
            <a:r>
              <a:rPr lang="ru-RU" sz="3000" dirty="0" smtClean="0">
                <a:solidFill>
                  <a:srgbClr val="333333"/>
                </a:solidFill>
              </a:rPr>
              <a:t> – 6,8 млн, 3- </a:t>
            </a:r>
            <a:r>
              <a:rPr lang="ru-RU" sz="3000" dirty="0" err="1" smtClean="0">
                <a:solidFill>
                  <a:srgbClr val="333333"/>
                </a:solidFill>
              </a:rPr>
              <a:t>комн</a:t>
            </a:r>
            <a:r>
              <a:rPr lang="ru-RU" sz="3000" dirty="0" smtClean="0">
                <a:solidFill>
                  <a:srgbClr val="333333"/>
                </a:solidFill>
              </a:rPr>
              <a:t> 8,8 млн</a:t>
            </a:r>
            <a:endParaRPr sz="3000" dirty="0">
              <a:solidFill>
                <a:srgbClr val="333333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49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Google Shape;125;p9"/>
          <p:cNvSpPr txBox="1"/>
          <p:nvPr/>
        </p:nvSpPr>
        <p:spPr>
          <a:xfrm>
            <a:off x="1292393" y="2696511"/>
            <a:ext cx="22339500" cy="89665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3600" dirty="0" smtClean="0">
                <a:solidFill>
                  <a:srgbClr val="333333"/>
                </a:solidFill>
              </a:rPr>
              <a:t>В качестве подтверждения гипотезы  приведу данные по аренде собственного помещения. По итогам 3-летней работы можем видеть следующие показатели стоимости аренды?</a:t>
            </a:r>
            <a:endParaRPr sz="36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3600" b="0" i="0" u="none" strike="noStrike" cap="none" dirty="0">
              <a:solidFill>
                <a:srgbClr val="333333"/>
              </a:solidFill>
              <a:sym typeface="Arial"/>
            </a:endParaRPr>
          </a:p>
          <a:p>
            <a:pPr marL="457200" marR="0" lvl="0" indent="-482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Char char="-"/>
            </a:pP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2023 год – 70 тыс</a:t>
            </a:r>
            <a:r>
              <a:rPr lang="ru-RU" sz="3600" dirty="0" smtClean="0">
                <a:solidFill>
                  <a:srgbClr val="333333"/>
                </a:solidFill>
              </a:rPr>
              <a:t>яч</a:t>
            </a:r>
            <a:r>
              <a:rPr lang="en-US" sz="3600" b="0" i="0" u="none" strike="noStrike" cap="none" dirty="0" smtClean="0">
                <a:solidFill>
                  <a:srgbClr val="333333"/>
                </a:solidFill>
                <a:sym typeface="Arial"/>
              </a:rPr>
              <a:t> </a:t>
            </a:r>
            <a:r>
              <a:rPr lang="en-US" sz="3600" b="0" i="0" u="none" strike="noStrike" cap="none" dirty="0" err="1" smtClean="0">
                <a:solidFill>
                  <a:srgbClr val="333333"/>
                </a:solidFill>
                <a:sym typeface="Arial"/>
              </a:rPr>
              <a:t>рублей</a:t>
            </a:r>
            <a:r>
              <a:rPr lang="ru-RU" sz="3600" dirty="0" smtClean="0">
                <a:solidFill>
                  <a:srgbClr val="333333"/>
                </a:solidFill>
              </a:rPr>
              <a:t>/месяц</a:t>
            </a:r>
            <a:endParaRPr sz="3600" dirty="0"/>
          </a:p>
          <a:p>
            <a:pPr marL="457200" marR="0" lvl="0" indent="-482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Char char="-"/>
            </a:pPr>
            <a:r>
              <a:rPr lang="en-US" sz="3600" b="0" i="0" u="none" strike="noStrike" cap="none" dirty="0" smtClean="0">
                <a:solidFill>
                  <a:srgbClr val="333333"/>
                </a:solidFill>
                <a:sym typeface="Arial"/>
              </a:rPr>
              <a:t>2</a:t>
            </a: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024 год – 85 тысяч</a:t>
            </a:r>
            <a:r>
              <a:rPr lang="en-US" sz="3600" b="0" i="0" u="none" strike="noStrike" cap="none" dirty="0" smtClean="0">
                <a:solidFill>
                  <a:srgbClr val="333333"/>
                </a:solidFill>
                <a:sym typeface="Arial"/>
              </a:rPr>
              <a:t> </a:t>
            </a:r>
            <a:r>
              <a:rPr lang="en-US" sz="3600" b="0" i="0" u="none" strike="noStrike" cap="none" dirty="0" err="1" smtClean="0">
                <a:solidFill>
                  <a:srgbClr val="333333"/>
                </a:solidFill>
                <a:sym typeface="Arial"/>
              </a:rPr>
              <a:t>рублей</a:t>
            </a:r>
            <a:r>
              <a:rPr lang="ru-RU" sz="3600" dirty="0" smtClean="0">
                <a:solidFill>
                  <a:srgbClr val="333333"/>
                </a:solidFill>
              </a:rPr>
              <a:t>/месяц</a:t>
            </a:r>
            <a:endParaRPr sz="3600" dirty="0"/>
          </a:p>
          <a:p>
            <a:pPr marL="457200" marR="0" lvl="0" indent="-482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Char char="-"/>
            </a:pP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2025 год – 120 тысяч</a:t>
            </a:r>
            <a:r>
              <a:rPr lang="en-US" sz="3600" b="0" i="0" u="none" strike="noStrike" cap="none" dirty="0" smtClean="0">
                <a:solidFill>
                  <a:srgbClr val="333333"/>
                </a:solidFill>
                <a:sym typeface="Arial"/>
              </a:rPr>
              <a:t> </a:t>
            </a:r>
            <a:r>
              <a:rPr lang="en-US" sz="3600" b="0" i="0" u="none" strike="noStrike" cap="none" dirty="0" err="1" smtClean="0">
                <a:solidFill>
                  <a:srgbClr val="333333"/>
                </a:solidFill>
                <a:sym typeface="Arial"/>
              </a:rPr>
              <a:t>рублей</a:t>
            </a:r>
            <a:r>
              <a:rPr lang="ru-RU" sz="3600" dirty="0">
                <a:solidFill>
                  <a:srgbClr val="333333"/>
                </a:solidFill>
              </a:rPr>
              <a:t>/</a:t>
            </a:r>
            <a:r>
              <a:rPr lang="en-US" sz="3600" b="0" i="0" u="none" strike="noStrike" cap="none" dirty="0" err="1" smtClean="0">
                <a:solidFill>
                  <a:srgbClr val="333333"/>
                </a:solidFill>
                <a:sym typeface="Arial"/>
              </a:rPr>
              <a:t>месяц</a:t>
            </a:r>
            <a:r>
              <a:rPr lang="en-US" sz="3600" b="0" i="0" u="none" strike="noStrike" cap="none" dirty="0" smtClean="0">
                <a:solidFill>
                  <a:srgbClr val="333333"/>
                </a:solidFill>
                <a:sym typeface="Arial"/>
              </a:rPr>
              <a:t> </a:t>
            </a:r>
            <a:endParaRPr sz="36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sz="3600" b="0" i="0" u="none" strike="noStrike" cap="none" dirty="0">
              <a:solidFill>
                <a:srgbClr val="333333"/>
              </a:solidFill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3600" dirty="0" smtClean="0">
                <a:solidFill>
                  <a:srgbClr val="333333"/>
                </a:solidFill>
              </a:rPr>
              <a:t>Поиск клиентов производится через риелторов, простои помещения минимальны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endParaRPr lang="ru-RU" sz="3600" b="0" i="0" u="none" strike="noStrike" cap="none" dirty="0">
              <a:solidFill>
                <a:srgbClr val="333333"/>
              </a:solidFill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3600" dirty="0" smtClean="0">
                <a:solidFill>
                  <a:srgbClr val="333333"/>
                </a:solidFill>
              </a:rPr>
              <a:t>Для аренды и продажи используются общедоступные ресурсы типа «Циан», «</a:t>
            </a:r>
            <a:r>
              <a:rPr lang="ru-RU" sz="3600" dirty="0" err="1" smtClean="0">
                <a:solidFill>
                  <a:srgbClr val="333333"/>
                </a:solidFill>
              </a:rPr>
              <a:t>Авито</a:t>
            </a:r>
            <a:r>
              <a:rPr lang="ru-RU" sz="3600" dirty="0" smtClean="0">
                <a:solidFill>
                  <a:srgbClr val="333333"/>
                </a:solidFill>
              </a:rPr>
              <a:t>», «Этажи»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Для минимизации рисков и проверки гипотезы эффективности продаж выставляли собственное жилье </a:t>
            </a:r>
            <a:r>
              <a:rPr lang="ru-RU" sz="3600" dirty="0" smtClean="0">
                <a:solidFill>
                  <a:srgbClr val="333333"/>
                </a:solidFill>
              </a:rPr>
              <a:t>продажу </a:t>
            </a: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для оценки спроса. Показали сильные стороны дома: внешний вид, расположение, коммуникации, инфраструктура, расположенная рядом. Звонки от покупателей поступали. Но мы говорили честно, что это объявление для оценки спроса и собирали мнения покупателей.</a:t>
            </a:r>
            <a:r>
              <a:rPr lang="en-US" sz="3600" b="0" i="0" u="none" strike="noStrike" cap="none" dirty="0">
                <a:solidFill>
                  <a:srgbClr val="333333"/>
                </a:solidFill>
                <a:sym typeface="Arial"/>
              </a:rPr>
              <a:t/>
            </a:r>
            <a:br>
              <a:rPr lang="en-US" sz="3600" b="0" i="0" u="none" strike="noStrike" cap="none" dirty="0">
                <a:solidFill>
                  <a:srgbClr val="333333"/>
                </a:solidFill>
                <a:sym typeface="Arial"/>
              </a:rPr>
            </a:br>
            <a:r>
              <a:rPr lang="ru-RU" sz="3600" b="0" i="0" u="none" strike="noStrike" cap="none" dirty="0" smtClean="0">
                <a:solidFill>
                  <a:srgbClr val="333333"/>
                </a:solidFill>
                <a:sym typeface="Arial"/>
              </a:rPr>
              <a:t>Перед началом проекта проведем еще одну оценку спроса, предложим 1-2 комнатные квартиры различной площади на продажу и аренду и по количеству звонков оценим спрос.</a:t>
            </a:r>
            <a:endParaRPr sz="3600" dirty="0"/>
          </a:p>
        </p:txBody>
      </p:sp>
      <p:sp>
        <p:nvSpPr>
          <p:cNvPr id="126" name="Google Shape;126;p9"/>
          <p:cNvSpPr txBox="1">
            <a:spLocks noGrp="1"/>
          </p:cNvSpPr>
          <p:nvPr>
            <p:ph type="title"/>
          </p:nvPr>
        </p:nvSpPr>
        <p:spPr>
          <a:xfrm>
            <a:off x="1292393" y="848789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 dirty="0" err="1">
                <a:solidFill>
                  <a:srgbClr val="000000"/>
                </a:solidFill>
              </a:rPr>
              <a:t>ПОДТВЕРЖДЕНИЕ</a:t>
            </a:r>
            <a:r>
              <a:rPr lang="en-US" sz="7200" dirty="0">
                <a:solidFill>
                  <a:srgbClr val="000000"/>
                </a:solidFill>
              </a:rPr>
              <a:t> </a:t>
            </a:r>
            <a:r>
              <a:rPr lang="en-US" sz="7200" dirty="0" err="1">
                <a:solidFill>
                  <a:srgbClr val="000000"/>
                </a:solidFill>
              </a:rPr>
              <a:t>ГИПОТЕЗЫ</a:t>
            </a:r>
            <a:endParaRPr sz="7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0"/>
          <p:cNvSpPr txBox="1"/>
          <p:nvPr/>
        </p:nvSpPr>
        <p:spPr>
          <a:xfrm>
            <a:off x="1370675" y="10612923"/>
            <a:ext cx="22339500" cy="1333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Среди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эдвайзеров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звёздны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й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40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иэлтор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и 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 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уководитель строительной компании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en-US" sz="4000" i="0" u="none" strike="noStrike" cap="none" dirty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с </a:t>
            </a:r>
            <a:r>
              <a:rPr lang="ru-RU" sz="40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более, чем </a:t>
            </a:r>
            <a:r>
              <a:rPr lang="en-US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0 </a:t>
            </a:r>
            <a:r>
              <a:rPr lang="ru-RU" sz="4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летним опытом строительства многоэтажного жилья в Амурском регионе.</a:t>
            </a:r>
            <a:endParaRPr sz="40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32" name="Google Shape;132;p10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>
                <a:solidFill>
                  <a:srgbClr val="000000"/>
                </a:solidFill>
              </a:rPr>
              <a:t>КОМАНДА</a:t>
            </a:r>
            <a:endParaRPr sz="7200">
              <a:solidFill>
                <a:srgbClr val="000000"/>
              </a:solidFill>
            </a:endParaRPr>
          </a:p>
        </p:txBody>
      </p:sp>
      <p:pic>
        <p:nvPicPr>
          <p:cNvPr id="133" name="Google Shape;133;p1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70675" y="3461563"/>
            <a:ext cx="3045775" cy="304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1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446445" y="3461563"/>
            <a:ext cx="3045775" cy="304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1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017530" y="3461563"/>
            <a:ext cx="3045775" cy="3045775"/>
          </a:xfrm>
          <a:prstGeom prst="rect">
            <a:avLst/>
          </a:prstGeom>
          <a:noFill/>
          <a:ln>
            <a:noFill/>
          </a:ln>
        </p:spPr>
      </p:pic>
      <p:sp>
        <p:nvSpPr>
          <p:cNvPr id="136" name="Google Shape;136;p10"/>
          <p:cNvSpPr txBox="1"/>
          <p:nvPr/>
        </p:nvSpPr>
        <p:spPr>
          <a:xfrm>
            <a:off x="1370686" y="6818238"/>
            <a:ext cx="5607300" cy="16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Андрей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4000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- </a:t>
            </a:r>
            <a:r>
              <a:rPr lang="en-US" sz="4000" dirty="0" err="1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Фаундер</a:t>
            </a:r>
            <a:r>
              <a:rPr lang="en-US" sz="4000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endParaRPr sz="4000" dirty="0">
              <a:solidFill>
                <a:srgbClr val="33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8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роактивный организатор и вдохновитель проекта</a:t>
            </a:r>
            <a:endParaRPr dirty="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7" name="Google Shape;137;p10"/>
          <p:cNvSpPr txBox="1"/>
          <p:nvPr/>
        </p:nvSpPr>
        <p:spPr>
          <a:xfrm>
            <a:off x="6639187" y="6774138"/>
            <a:ext cx="4190178" cy="16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Ольга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4000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- </a:t>
            </a: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ru-RU" sz="28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опытный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ru-RU" sz="28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иелтор по аренде г. Свободный</a:t>
            </a:r>
            <a:endParaRPr sz="2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38" name="Google Shape;138;p10"/>
          <p:cNvSpPr txBox="1"/>
          <p:nvPr/>
        </p:nvSpPr>
        <p:spPr>
          <a:xfrm>
            <a:off x="11017530" y="6675717"/>
            <a:ext cx="3308070" cy="2092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Анастасия 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4000" dirty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- </a:t>
            </a: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ru-RU" sz="2800" dirty="0" smtClean="0">
                <a:solidFill>
                  <a:srgbClr val="333333"/>
                </a:solidFill>
                <a:latin typeface="Helvetica Neue Light"/>
                <a:ea typeface="Helvetica Neue"/>
                <a:cs typeface="Helvetica Neue"/>
                <a:sym typeface="Helvetica Neue Light"/>
              </a:rPr>
              <a:t>мега-риелтор по продажам недвижимости</a:t>
            </a:r>
            <a:endParaRPr sz="2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11" name="Google Shape;135;p1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588615" y="3478610"/>
            <a:ext cx="3045775" cy="304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5;p1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0131825" y="3478609"/>
            <a:ext cx="3045775" cy="304577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7;p10"/>
          <p:cNvSpPr txBox="1"/>
          <p:nvPr/>
        </p:nvSpPr>
        <p:spPr>
          <a:xfrm>
            <a:off x="15840448" y="6820627"/>
            <a:ext cx="2776529" cy="2523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Антон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– </a:t>
            </a:r>
            <a:r>
              <a:rPr lang="ru-RU" sz="28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главный инженер строительной компании</a:t>
            </a:r>
            <a:endParaRPr sz="28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4" name="Google Shape;137;p10"/>
          <p:cNvSpPr txBox="1"/>
          <p:nvPr/>
        </p:nvSpPr>
        <p:spPr>
          <a:xfrm>
            <a:off x="20131825" y="6820627"/>
            <a:ext cx="3283987" cy="2092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Константин –  </a:t>
            </a:r>
            <a:r>
              <a:rPr lang="en-US" sz="4000" dirty="0" smtClean="0">
                <a:solidFill>
                  <a:srgbClr val="33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ru-RU" sz="28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ген. директор строительной компании</a:t>
            </a:r>
            <a:endParaRPr sz="200" dirty="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1"/>
          <p:cNvSpPr txBox="1"/>
          <p:nvPr/>
        </p:nvSpPr>
        <p:spPr>
          <a:xfrm>
            <a:off x="1206500" y="3355601"/>
            <a:ext cx="13986300" cy="69660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50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36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Получили КП от застройщика на строительство 5 этажного 60 квартирного дома, стоимость 420 млн. Средняя стоимость квадратного метра жилой площади без отделки -165 тыс. руб. Заявленные сроки строительства -1 год. В то же время есть предложения по готовым  квартирам в новостройках без отделки по цене 155-160 </a:t>
            </a:r>
            <a:r>
              <a:rPr lang="ru-RU" sz="36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тыс</a:t>
            </a:r>
            <a:r>
              <a:rPr lang="ru-RU" sz="36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</a:t>
            </a:r>
            <a:r>
              <a:rPr lang="ru-RU" sz="3600" i="0" u="none" strike="noStrike" cap="none" dirty="0" err="1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уб</a:t>
            </a:r>
            <a:r>
              <a:rPr lang="ru-RU" sz="36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за м2. Для расчета взяли 20 кварти</a:t>
            </a:r>
            <a:r>
              <a:rPr lang="ru-RU" sz="36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р по 7 млн, отделка -1,2 млн, мебель-1,4 млн, итого (7+1,2+1,4)х20= 192 млн. Сроки ремонта квартиры около </a:t>
            </a:r>
            <a:r>
              <a:rPr lang="ru-RU" sz="36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3 </a:t>
            </a:r>
            <a:r>
              <a:rPr lang="ru-RU" sz="3600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месяцев, заказать в этот период мебель, установка мебели еще 1 месяц. Итого на 8-9 месяцев раньше можно запустить проект. И вводить его можно поэтапно, не ожидая окончания ремонта дома целиком. </a:t>
            </a:r>
            <a:endParaRPr sz="3600" i="0" u="none" strike="noStrike" cap="none" dirty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4000"/>
              <a:buFont typeface="Arial"/>
              <a:buNone/>
            </a:pPr>
            <a:r>
              <a:rPr lang="ru-RU" sz="3600" i="0" u="none" strike="noStrike" cap="none" dirty="0" smtClean="0">
                <a:solidFill>
                  <a:srgbClr val="33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Итого инвестиционный запрос – 200 млн руб.</a:t>
            </a:r>
            <a:endParaRPr sz="5000" i="0" u="none" strike="noStrike" cap="none" dirty="0">
              <a:solidFill>
                <a:srgbClr val="33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title"/>
          </p:nvPr>
        </p:nvSpPr>
        <p:spPr>
          <a:xfrm>
            <a:off x="1206500" y="1709400"/>
            <a:ext cx="21971100" cy="14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4C7F"/>
              </a:buClr>
              <a:buSzPts val="8500"/>
              <a:buFont typeface="Helvetica Neue"/>
              <a:buNone/>
            </a:pPr>
            <a:r>
              <a:rPr lang="en-US" sz="7200">
                <a:solidFill>
                  <a:srgbClr val="000000"/>
                </a:solidFill>
              </a:rPr>
              <a:t>ИНВЕСТИЦИОННЫЙ ЗАПРОС</a:t>
            </a:r>
            <a:endParaRPr sz="7200">
              <a:solidFill>
                <a:srgbClr val="000000"/>
              </a:solidFill>
            </a:endParaRPr>
          </a:p>
        </p:txBody>
      </p:sp>
      <p:pic>
        <p:nvPicPr>
          <p:cNvPr id="145" name="Google Shape;145;p1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838950" y="4632800"/>
            <a:ext cx="6947175" cy="62255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0_BasicColor">
  <a:themeElements>
    <a:clrScheme name="30_BasicColor">
      <a:dk1>
        <a:srgbClr val="5E5E5E"/>
      </a:dk1>
      <a:lt1>
        <a:srgbClr val="003462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0_BasicColor">
  <a:themeElements>
    <a:clrScheme name="30_BasicColor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00</TotalTime>
  <Words>1026</Words>
  <Application>Microsoft Office PowerPoint</Application>
  <PresentationFormat>Произвольный</PresentationFormat>
  <Paragraphs>72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Helvetica Neue Light</vt:lpstr>
      <vt:lpstr>Arial</vt:lpstr>
      <vt:lpstr>Helvetica Neue</vt:lpstr>
      <vt:lpstr>30_BasicColor</vt:lpstr>
      <vt:lpstr>Слайд think-cell</vt:lpstr>
      <vt:lpstr>Развитие самого перспективного региона на Дальнем Востоке</vt:lpstr>
      <vt:lpstr>Ситуация на сегодняшний день</vt:lpstr>
      <vt:lpstr>Рынок жилья в г. Свободный</vt:lpstr>
      <vt:lpstr>ТРЕНДЫ РЫНКА ЖИЛЬЯ В г. СВОБОДНОМ</vt:lpstr>
      <vt:lpstr>РЕШЕНИЕ ПРОБЛЕМЫ</vt:lpstr>
      <vt:lpstr>КОНКУРЕНТЫ</vt:lpstr>
      <vt:lpstr>ПОДТВЕРЖДЕНИЕ ГИПОТЕЗЫ</vt:lpstr>
      <vt:lpstr>КОМАНДА</vt:lpstr>
      <vt:lpstr>ИНВЕСТИЦИОННЫЙ ЗАПРОС</vt:lpstr>
      <vt:lpstr>КУДА ПОЙДУТ ИНВЕСТИЦИИ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оекта</dc:title>
  <dc:creator>DELL</dc:creator>
  <cp:lastModifiedBy>Кудряшов Андрей Рудольфович</cp:lastModifiedBy>
  <cp:revision>94</cp:revision>
  <dcterms:modified xsi:type="dcterms:W3CDTF">2025-09-10T08:16:16Z</dcterms:modified>
</cp:coreProperties>
</file>